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660" r:id="rId5"/>
  </p:sldMasterIdLst>
  <p:notesMasterIdLst>
    <p:notesMasterId r:id="rId7"/>
  </p:notesMasterIdLst>
  <p:handoutMasterIdLst>
    <p:handoutMasterId r:id="rId8"/>
  </p:handoutMasterIdLst>
  <p:sldIdLst>
    <p:sldId id="2147471637" r:id="rId6"/>
  </p:sldIdLst>
  <p:sldSz cx="12192000" cy="6858000"/>
  <p:notesSz cx="7010400" cy="92964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gram Updates" id="{35269195-3FC2-8746-9907-2531F9FA2975}">
          <p14:sldIdLst>
            <p14:sldId id="2147471637"/>
          </p14:sldIdLst>
        </p14:section>
        <p14:section name="Appendix" id="{975782CB-9832-478C-8AFA-278DDB482AD1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0F5204-07F3-CF35-7EF1-D8B1907CD4C8}" name="Prabhakaran, Praveen (CCI-Atlanta)" initials="P(" userId="S::praveen.prabhakaran@cox.com::7d888ac5-300c-4679-82d5-157e6386ea4a" providerId="AD"/>
  <p188:author id="{425ED765-A803-93D7-D883-DB2AC28F4656}" name="Patel, Adarsh (CCI-Atlanta)" initials="AP" userId="S::Adarsh.Patel@cox.com::7af17255-eb35-4745-8cd0-1872a692d2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  <p:cmAuthor id="2" name="Fakhraee, Farrah (CCI-Atlanta)" initials="F(" lastIdx="25" clrIdx="1">
    <p:extLst>
      <p:ext uri="{19B8F6BF-5375-455C-9EA6-DF929625EA0E}">
        <p15:presenceInfo xmlns:p15="http://schemas.microsoft.com/office/powerpoint/2012/main" userId="S::farrah.fakhraee@cox.com::be1abb38-cabf-4804-aa7b-b791bed41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81"/>
    <a:srgbClr val="009AE0"/>
    <a:srgbClr val="FFFFFF"/>
    <a:srgbClr val="FAFAFA"/>
    <a:srgbClr val="00A846"/>
    <a:srgbClr val="3DC353"/>
    <a:srgbClr val="FFCC99"/>
    <a:srgbClr val="FEB4A0"/>
    <a:srgbClr val="B6E8BE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4638"/>
  </p:normalViewPr>
  <p:slideViewPr>
    <p:cSldViewPr snapToGrid="0">
      <p:cViewPr varScale="1">
        <p:scale>
          <a:sx n="83" d="100"/>
          <a:sy n="83" d="100"/>
        </p:scale>
        <p:origin x="638" y="67"/>
      </p:cViewPr>
      <p:guideLst>
        <p:guide orient="horz" pos="2160"/>
        <p:guide pos="3840"/>
        <p:guide pos="3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010191-A0CB-4885-8BEB-367627E64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ADE5"/>
              </a:gs>
              <a:gs pos="100000">
                <a:srgbClr val="00D25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8A08F9-81A3-40B0-B298-A4946C6723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204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0165E-88CB-4C4F-8D10-AE6F48290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6625D3-6D99-42FC-9BD2-4FB7B9138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3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FE4B87-AB83-4304-BBDA-6963838CE43E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1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2236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71271-2672-48F6-BC19-53395FF7C06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5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1201FA-5DBA-4DE0-B906-E28ACF9BC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62AD9-91F5-4EE5-9154-949334310311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45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6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06660-664F-4E9F-907C-C78FB8B0F8C2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36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6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04762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2747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20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531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06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04217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96672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581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9337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7657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58A5538-B5E1-44AC-8F98-62A64CCF24E0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1354975" y="6398435"/>
            <a:ext cx="9387680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73" r:id="rId4"/>
    <p:sldLayoutId id="2147483753" r:id="rId5"/>
    <p:sldLayoutId id="2147483699" r:id="rId6"/>
    <p:sldLayoutId id="2147483768" r:id="rId7"/>
    <p:sldLayoutId id="2147483776" r:id="rId8"/>
    <p:sldLayoutId id="2147483700" r:id="rId9"/>
    <p:sldLayoutId id="2147483702" r:id="rId10"/>
    <p:sldLayoutId id="2147483760" r:id="rId11"/>
    <p:sldLayoutId id="2147483752" r:id="rId12"/>
    <p:sldLayoutId id="2147483771" r:id="rId13"/>
    <p:sldLayoutId id="2147483775" r:id="rId14"/>
    <p:sldLayoutId id="2147483762" r:id="rId15"/>
    <p:sldLayoutId id="2147483755" r:id="rId16"/>
    <p:sldLayoutId id="2147483749" r:id="rId17"/>
    <p:sldLayoutId id="2147483769" r:id="rId18"/>
    <p:sldLayoutId id="2147483774" r:id="rId19"/>
    <p:sldLayoutId id="2147483711" r:id="rId20"/>
    <p:sldLayoutId id="2147483750" r:id="rId21"/>
    <p:sldLayoutId id="2147483777" r:id="rId22"/>
  </p:sldLayoutIdLst>
  <p:hf hd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98120-3EF7-461E-AC34-C02BF5C3A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A98120-3EF7-461E-AC34-C02BF5C3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95ED66-1FB5-4142-98B1-DADBDD7E74A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FC5EA-0D98-46D6-9AD5-D2066C50748C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979898" y="6279823"/>
            <a:ext cx="722376" cy="24199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6ED712-E8D1-4EA1-B8CF-F695AA915A2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09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67678"/>
            <a:ext cx="11531969" cy="463610"/>
          </a:xfrm>
        </p:spPr>
        <p:txBody>
          <a:bodyPr/>
          <a:lstStyle/>
          <a:p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CIAM PROJECT 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STATU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E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NOVEMBER 01</a:t>
            </a:r>
            <a:r>
              <a:rPr lang="en-US" sz="28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1" y="1048625"/>
            <a:ext cx="7772400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Key Headlines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015340" y="2814043"/>
            <a:ext cx="7121237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oming Week Key Activitie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6242" y="4384742"/>
            <a:ext cx="12161520" cy="241886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 &amp; Issu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9910618" y="691838"/>
          <a:ext cx="2281382" cy="2286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40691">
                  <a:extLst>
                    <a:ext uri="{9D8B030D-6E8A-4147-A177-3AD203B41FA5}">
                      <a16:colId xmlns:a16="http://schemas.microsoft.com/office/drawing/2014/main" val="1579312854"/>
                    </a:ext>
                  </a:extLst>
                </a:gridCol>
                <a:gridCol w="1140691">
                  <a:extLst>
                    <a:ext uri="{9D8B030D-6E8A-4147-A177-3AD203B41FA5}">
                      <a16:colId xmlns:a16="http://schemas.microsoft.com/office/drawing/2014/main" val="2294863911"/>
                    </a:ext>
                  </a:extLst>
                </a:gridCol>
              </a:tblGrid>
              <a:tr h="21468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roject Ph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EXEC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5092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9910618" y="-6"/>
          <a:ext cx="2281383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727">
                  <a:extLst>
                    <a:ext uri="{9D8B030D-6E8A-4147-A177-3AD203B41FA5}">
                      <a16:colId xmlns:a16="http://schemas.microsoft.com/office/drawing/2014/main" val="2257054818"/>
                    </a:ext>
                  </a:extLst>
                </a:gridCol>
                <a:gridCol w="600364">
                  <a:extLst>
                    <a:ext uri="{9D8B030D-6E8A-4147-A177-3AD203B41FA5}">
                      <a16:colId xmlns:a16="http://schemas.microsoft.com/office/drawing/2014/main" val="381541583"/>
                    </a:ext>
                  </a:extLst>
                </a:gridCol>
                <a:gridCol w="480292">
                  <a:extLst>
                    <a:ext uri="{9D8B030D-6E8A-4147-A177-3AD203B41FA5}">
                      <a16:colId xmlns:a16="http://schemas.microsoft.com/office/drawing/2014/main" val="521123419"/>
                    </a:ext>
                  </a:extLst>
                </a:gridCol>
              </a:tblGrid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hedule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agging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78357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udget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n Track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162980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ope Health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fined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70563"/>
                  </a:ext>
                </a:extLst>
              </a:tr>
            </a:tbl>
          </a:graphicData>
        </a:graphic>
      </p:graphicFrame>
      <p:sp>
        <p:nvSpPr>
          <p:cNvPr id="16" name="Flowchart: Connector 15"/>
          <p:cNvSpPr/>
          <p:nvPr/>
        </p:nvSpPr>
        <p:spPr>
          <a:xfrm>
            <a:off x="11880273" y="4617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lowchart: Connector 56"/>
          <p:cNvSpPr/>
          <p:nvPr/>
        </p:nvSpPr>
        <p:spPr>
          <a:xfrm>
            <a:off x="11880273" y="270149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lowchart: Connector 57"/>
          <p:cNvSpPr/>
          <p:nvPr/>
        </p:nvSpPr>
        <p:spPr>
          <a:xfrm>
            <a:off x="11880273" y="494123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536633"/>
              </p:ext>
            </p:extLst>
          </p:nvPr>
        </p:nvGraphicFramePr>
        <p:xfrm>
          <a:off x="5015340" y="3101998"/>
          <a:ext cx="7121236" cy="11983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5164">
                  <a:extLst>
                    <a:ext uri="{9D8B030D-6E8A-4147-A177-3AD203B41FA5}">
                      <a16:colId xmlns:a16="http://schemas.microsoft.com/office/drawing/2014/main" val="789816936"/>
                    </a:ext>
                  </a:extLst>
                </a:gridCol>
                <a:gridCol w="738909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1477818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459345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</a:tblGrid>
              <a:tr h="250804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Key Activit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425757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ping &amp; Values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idation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KPIs/Metrics on Tableau Dashboard, Finishing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Dashboards Desig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Team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5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513499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ion of existing Metric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ues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the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 data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t been made available now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Tea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r>
                        <a:rPr lang="en-US" sz="105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cto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0" y="1394688"/>
            <a:ext cx="777016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Successfully completed the review with the Matt Earnest &amp; Elliot Schwartz (23</a:t>
            </a:r>
            <a:r>
              <a:rPr lang="en-US" sz="1050" baseline="30000" dirty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Oct 2024)</a:t>
            </a: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Team had presented the in-progress dashboard and was well received by Matt &amp; Team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ata Team now have access to the complete data set made available &amp; is working on validating the access and data  (Target 30</a:t>
            </a:r>
            <a:r>
              <a:rPr lang="en-US" sz="105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October 2024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BI Team have started with the Tableau dashboards a actual data tables and will be refining iteratively basis the business feedback and data availability (Target 08</a:t>
            </a:r>
            <a:r>
              <a:rPr lang="en-US" sz="105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November 2024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Ongoing data validation with the Praveen for all the identified metrics and additional KPIs to be included as part of the model (Ongoing)</a:t>
            </a:r>
          </a:p>
        </p:txBody>
      </p:sp>
      <p:sp>
        <p:nvSpPr>
          <p:cNvPr id="61" name="Flowchart: Connector 60"/>
          <p:cNvSpPr/>
          <p:nvPr/>
        </p:nvSpPr>
        <p:spPr>
          <a:xfrm>
            <a:off x="8763002" y="3504274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lowchart: Connector 64"/>
          <p:cNvSpPr/>
          <p:nvPr/>
        </p:nvSpPr>
        <p:spPr>
          <a:xfrm>
            <a:off x="8763002" y="4049018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/>
          <p:cNvSpPr/>
          <p:nvPr/>
        </p:nvSpPr>
        <p:spPr>
          <a:xfrm>
            <a:off x="9394764" y="1027419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9453" y="1020134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394053"/>
              </p:ext>
            </p:extLst>
          </p:nvPr>
        </p:nvGraphicFramePr>
        <p:xfrm>
          <a:off x="8062271" y="1265707"/>
          <a:ext cx="4119418" cy="149642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119418">
                  <a:extLst>
                    <a:ext uri="{9D8B030D-6E8A-4147-A177-3AD203B41FA5}">
                      <a16:colId xmlns:a16="http://schemas.microsoft.com/office/drawing/2014/main" val="644725935"/>
                    </a:ext>
                  </a:extLst>
                </a:gridCol>
              </a:tblGrid>
              <a:tr h="278995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Obj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14404"/>
                  </a:ext>
                </a:extLst>
              </a:tr>
              <a:tr h="1217431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 support on building an integrated data staging layer &amp; Tableau dashboards with integration to AWS S3 with Snowflake &amp; Adobe as the source of the data to drive and integrated data layer for better BI &amp; Insights, Auto extraction of information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design ETL procedures to create Customer and Customer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ctivity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evel views in Tableau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513304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9534377" y="97262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1017907" y="947841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7223674"/>
              </p:ext>
            </p:extLst>
          </p:nvPr>
        </p:nvGraphicFramePr>
        <p:xfrm>
          <a:off x="13853" y="4682250"/>
          <a:ext cx="12163910" cy="155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7565">
                  <a:extLst>
                    <a:ext uri="{9D8B030D-6E8A-4147-A177-3AD203B41FA5}">
                      <a16:colId xmlns:a16="http://schemas.microsoft.com/office/drawing/2014/main" val="3485745838"/>
                    </a:ext>
                  </a:extLst>
                </a:gridCol>
                <a:gridCol w="1431637">
                  <a:extLst>
                    <a:ext uri="{9D8B030D-6E8A-4147-A177-3AD203B41FA5}">
                      <a16:colId xmlns:a16="http://schemas.microsoft.com/office/drawing/2014/main" val="1933349237"/>
                    </a:ext>
                  </a:extLst>
                </a:gridCol>
                <a:gridCol w="4036290">
                  <a:extLst>
                    <a:ext uri="{9D8B030D-6E8A-4147-A177-3AD203B41FA5}">
                      <a16:colId xmlns:a16="http://schemas.microsoft.com/office/drawing/2014/main" val="873321475"/>
                    </a:ext>
                  </a:extLst>
                </a:gridCol>
                <a:gridCol w="1330037">
                  <a:extLst>
                    <a:ext uri="{9D8B030D-6E8A-4147-A177-3AD203B41FA5}">
                      <a16:colId xmlns:a16="http://schemas.microsoft.com/office/drawing/2014/main" val="73775240"/>
                    </a:ext>
                  </a:extLst>
                </a:gridCol>
                <a:gridCol w="4308381">
                  <a:extLst>
                    <a:ext uri="{9D8B030D-6E8A-4147-A177-3AD203B41FA5}">
                      <a16:colId xmlns:a16="http://schemas.microsoft.com/office/drawing/2014/main" val="21604331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/I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ERITY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DATE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IGATION/UPDATES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839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to the ETL Testing &amp; Deployment environment for enabling the continuous data ingestion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/23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testing out the AWS glue crawlers and job scheduling basis the current access to identify/mitigate any challenges early  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634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quality and validation of the complete data set, any data issues may delay the timelines as the access has been granted recently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/23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iteratively validating the new data and data refresh to ensure the data integrity and values are in line with business understanding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633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going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 validation and alignment to the business logic/metrics leading to iterative development/changes of the BI dashboard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07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ng with Praveen/Cox Teams to get the business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puts and vision for continuous improvements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428420"/>
                  </a:ext>
                </a:extLst>
              </a:tr>
            </a:tbl>
          </a:graphicData>
        </a:graphic>
      </p:graphicFrame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6BEE68F1-BCB3-CB2B-A7FC-CB9CA9606B95}"/>
              </a:ext>
            </a:extLst>
          </p:cNvPr>
          <p:cNvSpPr/>
          <p:nvPr/>
        </p:nvSpPr>
        <p:spPr>
          <a:xfrm>
            <a:off x="7618224" y="5198391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7611135" y="5637874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B071765B-C6D6-92A3-221A-9875D56950B8}"/>
              </a:ext>
            </a:extLst>
          </p:cNvPr>
          <p:cNvSpPr/>
          <p:nvPr/>
        </p:nvSpPr>
        <p:spPr>
          <a:xfrm>
            <a:off x="7621763" y="5988747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0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UEH2J4HibCRnIGpAbFA"/>
</p:tagLst>
</file>

<file path=ppt/theme/theme1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2_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Template" id="{9D7ED8C9-5839-4D45-847A-830E5890C0E9}" vid="{462980A9-AAA7-F748-89EF-9F306C11259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6262C325E63C4996D03021E06489BC" ma:contentTypeVersion="4" ma:contentTypeDescription="Create a new document." ma:contentTypeScope="" ma:versionID="9cfdc94af1956de2f6875649e5cc6aff">
  <xsd:schema xmlns:xsd="http://www.w3.org/2001/XMLSchema" xmlns:xs="http://www.w3.org/2001/XMLSchema" xmlns:p="http://schemas.microsoft.com/office/2006/metadata/properties" xmlns:ns2="80b69f1d-ead9-4f3d-aa02-a5292de2edf1" targetNamespace="http://schemas.microsoft.com/office/2006/metadata/properties" ma:root="true" ma:fieldsID="028f7d4cddf4fba99f194a4e642f5fa6" ns2:_="">
    <xsd:import namespace="80b69f1d-ead9-4f3d-aa02-a5292de2ed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b69f1d-ead9-4f3d-aa02-a5292de2ed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7B93A5-87F7-4E2E-A4AB-6C75B982D9F4}">
  <ds:schemaRefs>
    <ds:schemaRef ds:uri="80b69f1d-ead9-4f3d-aa02-a5292de2edf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BC13AF2-E39A-4FD2-B967-9FAE27A81BE6}">
  <ds:schemaRefs>
    <ds:schemaRef ds:uri="http://schemas.openxmlformats.org/package/2006/metadata/core-properties"/>
    <ds:schemaRef ds:uri="http://schemas.microsoft.com/office/2006/metadata/properties"/>
    <ds:schemaRef ds:uri="80b69f1d-ead9-4f3d-aa02-a5292de2edf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490CAD8-6F0C-42A0-89AB-C66F740BF3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8</TotalTime>
  <Words>387</Words>
  <Application>Microsoft Office PowerPoint</Application>
  <PresentationFormat>Widescreen</PresentationFormat>
  <Paragraphs>5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Calibri Light</vt:lpstr>
      <vt:lpstr>Proxima Nova</vt:lpstr>
      <vt:lpstr>Proxima Nova Black</vt:lpstr>
      <vt:lpstr>Proxima Nova Light</vt:lpstr>
      <vt:lpstr>Segoe UI</vt:lpstr>
      <vt:lpstr>Wingdings</vt:lpstr>
      <vt:lpstr>Cox Communications 2019 Template (16x9)</vt:lpstr>
      <vt:lpstr>2_Cox Communications 2019 Template (16x9)</vt:lpstr>
      <vt:lpstr>think-cell Slide</vt:lpstr>
      <vt:lpstr>CIAM PROJECT STATUS WE NOVEMBER 01ST, 2024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ois (CCI-Atlanta)</dc:creator>
  <cp:lastModifiedBy>Harvinder Singh59</cp:lastModifiedBy>
  <cp:revision>78</cp:revision>
  <cp:lastPrinted>2023-03-15T15:20:58Z</cp:lastPrinted>
  <dcterms:created xsi:type="dcterms:W3CDTF">2016-12-14T14:35:04Z</dcterms:created>
  <dcterms:modified xsi:type="dcterms:W3CDTF">2024-11-01T06:5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6262C325E63C4996D03021E06489BC</vt:lpwstr>
  </property>
</Properties>
</file>